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31"/>
  </p:notesMasterIdLst>
  <p:sldIdLst>
    <p:sldId id="2147475182" r:id="rId5"/>
    <p:sldId id="2147475183" r:id="rId6"/>
    <p:sldId id="2147475184" r:id="rId7"/>
    <p:sldId id="2147475185" r:id="rId8"/>
    <p:sldId id="2147475186" r:id="rId9"/>
    <p:sldId id="2147475187" r:id="rId10"/>
    <p:sldId id="2147475188" r:id="rId11"/>
    <p:sldId id="2147475189" r:id="rId12"/>
    <p:sldId id="2147475190" r:id="rId13"/>
    <p:sldId id="2147475191" r:id="rId14"/>
    <p:sldId id="2147475192" r:id="rId15"/>
    <p:sldId id="2147475193" r:id="rId16"/>
    <p:sldId id="2147475194" r:id="rId17"/>
    <p:sldId id="2147475195" r:id="rId18"/>
    <p:sldId id="2147475170" r:id="rId19"/>
    <p:sldId id="2147475171" r:id="rId20"/>
    <p:sldId id="2147475172" r:id="rId21"/>
    <p:sldId id="2147475173" r:id="rId22"/>
    <p:sldId id="2147475174" r:id="rId23"/>
    <p:sldId id="2147475175" r:id="rId24"/>
    <p:sldId id="2147475176" r:id="rId25"/>
    <p:sldId id="2147475177" r:id="rId26"/>
    <p:sldId id="2147475178" r:id="rId27"/>
    <p:sldId id="2147475179" r:id="rId28"/>
    <p:sldId id="2147475180" r:id="rId29"/>
    <p:sldId id="2147475181" r:id="rId3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95688989-A46B-41D1-B577-BD9DEE8DDACF}">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70"/>
            <p14:sldId id="2147475171"/>
            <p14:sldId id="2147475172"/>
            <p14:sldId id="2147475173"/>
            <p14:sldId id="2147475174"/>
            <p14:sldId id="2147475175"/>
            <p14:sldId id="2147475176"/>
            <p14:sldId id="2147475177"/>
            <p14:sldId id="2147475178"/>
            <p14:sldId id="2147475179"/>
            <p14:sldId id="2147475180"/>
            <p14:sldId id="214747518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99" autoAdjust="0"/>
    <p:restoredTop sz="94660"/>
  </p:normalViewPr>
  <p:slideViewPr>
    <p:cSldViewPr snapToGrid="0">
      <p:cViewPr varScale="1">
        <p:scale>
          <a:sx n="98" d="100"/>
          <a:sy n="98" d="100"/>
        </p:scale>
        <p:origin x="1042" y="72"/>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 Id="rId8" Type="http://schemas.openxmlformats.org/officeDocument/2006/relationships/slide" Target="slides/slide4.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3</cx:pt>
          <cx:pt idx="1">4</cx:pt>
          <cx:pt idx="2">-30</cx:pt>
          <cx:pt idx="3">1.1920928955078126e-12</cx:pt>
          <cx:pt idx="4">0</cx:pt>
          <cx:pt idx="5">0</cx:pt>
          <cx:pt idx="6">246</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3.65200000000004</cx:pt>
          <cx:pt idx="1">-23.23834800000002</cx:pt>
          <cx:pt idx="2">61.58641490000003</cx:pt>
          <cx:pt idx="3">-6.6900000012537931e-05</cx:pt>
          <cx:pt idx="4">0.080000000000000002</cx:pt>
          <cx:pt idx="5">-0.96999999999999997</cx:pt>
          <cx:pt idx="6">621.110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4</cx:pt>
          <cx:pt idx="1">2</cx:pt>
          <cx:pt idx="2">-6</cx:pt>
          <cx:pt idx="3">1.1920928955078126e-12</cx:pt>
          <cx:pt idx="4">1</cx:pt>
          <cx:pt idx="5">0</cx:pt>
          <cx:pt idx="6">270</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5.53899999999999</cx:pt>
          <cx:pt idx="1">-22.404794300000006</cx:pt>
          <cx:pt idx="2">1.7988661000000044</cx:pt>
          <cx:pt idx="3">0.2479282000000021</cx:pt>
          <cx:pt idx="4">0.63200000000000001</cx:pt>
          <cx:pt idx="5">-0.54000000000000004</cx:pt>
          <cx:pt idx="6">715.273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922</cx:pt>
          <cx:pt idx="1">3.8311001000000022</cx:pt>
          <cx:pt idx="2">0.38930859999999778</cx:pt>
          <cx:pt idx="3">0.021591300000000046</cx:pt>
          <cx:pt idx="4">-0.021999999999999999</cx:pt>
          <cx:pt idx="5">-0.73599999999999999</cx:pt>
          <cx:pt idx="6">257.406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1.05900000000003</cx:pt>
          <cx:pt idx="1">-13.515958499999995</cx:pt>
          <cx:pt idx="2">19.642064699999995</cx:pt>
          <cx:pt idx="3">-0.00010620000000017172</cx:pt>
          <cx:pt idx="4">2.383</cx:pt>
          <cx:pt idx="5">-3.0099999999999998</cx:pt>
          <cx:pt idx="6">336.557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30000000000001</cx:pt>
          <cx:pt idx="1">1.6190845999999963</cx:pt>
          <cx:pt idx="2">-14.7609593</cx:pt>
          <cx:pt idx="3">-0.00012529999999605934</cx:pt>
          <cx:pt idx="4">0.55500000000000005</cx:pt>
          <cx:pt idx="5">0</cx:pt>
          <cx:pt idx="6">127.712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80799999999999</cx:pt>
          <cx:pt idx="1">-8.738319300000013</cx:pt>
          <cx:pt idx="2">23.258327000000005</cx:pt>
          <cx:pt idx="3">-7.6999999910185581e-06</cx:pt>
          <cx:pt idx="4">0</cx:pt>
          <cx:pt idx="5">-2.3130000000000002</cx:pt>
          <cx:pt idx="6">343.014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cx:pt>
          <cx:pt idx="1">1</cx:pt>
          <cx:pt idx="2">0</cx:pt>
          <cx:pt idx="3">1.1920928955078126e-12</cx:pt>
          <cx:pt idx="4">0</cx:pt>
          <cx:pt idx="5">-1</cx:pt>
          <cx:pt idx="6">85</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4.66099999999994</cx:pt>
          <cx:pt idx="1">11.562674999999997</cx:pt>
          <cx:pt idx="2">-65.410697499999998</cx:pt>
          <cx:pt idx="3">2.2500000006402842e-05</cx:pt>
          <cx:pt idx="4">0.045999999999999999</cx:pt>
          <cx:pt idx="5">0</cx:pt>
          <cx:pt idx="6">630.8590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20499999999998</cx:pt>
          <cx:pt idx="1">5.1665139000000142</cx:pt>
          <cx:pt idx="2">-16.006696399999996</cx:pt>
          <cx:pt idx="3">0.062182499999982613</cx:pt>
          <cx:pt idx="4">-0.062</cx:pt>
          <cx:pt idx="5">-0.062</cx:pt>
          <cx:pt idx="6">279.303</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6.619</cx:pt>
          <cx:pt idx="1">3.7645069999999974</cx:pt>
          <cx:pt idx="2">-8.3462538000000013</cx:pt>
          <cx:pt idx="3">-0.00025319999999737772</cx:pt>
          <cx:pt idx="4">0</cx:pt>
          <cx:pt idx="5">0</cx:pt>
          <cx:pt idx="6">152.037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4.822</cx:pt>
          <cx:pt idx="1">-18.488136599999994</cx:pt>
          <cx:pt idx="2">22.783170699999999</cx:pt>
          <cx:pt idx="3">-3.4100000004400501e-05</cx:pt>
          <cx:pt idx="4">2.0819999999999999</cx:pt>
          <cx:pt idx="5">-0.14599999999999999</cx:pt>
          <cx:pt idx="6">391.05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19900000000001</cx:pt>
          <cx:pt idx="1">2.4996108000000015</cx:pt>
          <cx:pt idx="2">-10.365725200000002</cx:pt>
          <cx:pt idx="3">0.022114400000001297</cx:pt>
          <cx:pt idx="4">-0.021999999999999999</cx:pt>
          <cx:pt idx="5">-0.021999999999999999</cx:pt>
          <cx:pt idx="6">157.311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9.79300000000001</cx:pt>
          <cx:pt idx="1">-9.4128763000000149</cx:pt>
          <cx:pt idx="2">19.656958800000009</cx:pt>
          <cx:pt idx="3">-8.2499999993160595e-05</cx:pt>
          <cx:pt idx="4">0.53100000000000003</cx:pt>
          <cx:pt idx="5">-2.98</cx:pt>
          <cx:pt idx="6">287.588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cx:pt>
          <cx:pt idx="1">3</cx:pt>
          <cx:pt idx="2">11</cx:pt>
          <cx:pt idx="3">0</cx:pt>
          <cx:pt idx="4">0</cx:pt>
          <cx:pt idx="5">0</cx:pt>
          <cx:pt idx="6">16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8.65600000000001</cx:pt>
          <cx:pt idx="1">-10.706056800000018</cx:pt>
          <cx:pt idx="2">1.3300531000000029</cx:pt>
          <cx:pt idx="3">3.7000000156695024e-06</cx:pt>
          <cx:pt idx="4">0.94399999999999995</cx:pt>
          <cx:pt idx="5">-0.52300000000000002</cx:pt>
          <cx:pt idx="6">259.70100000000002</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2.45699999999999</cx:pt>
          <cx:pt idx="1">1.517128300000004</cx:pt>
          <cx:pt idx="2">-8.4731408000000012</cx:pt>
          <cx:pt idx="3">1.2499999997089617e-05</cx:pt>
          <cx:pt idx="4">0.69099999999999995</cx:pt>
          <cx:pt idx="5">-0.36599999999999999</cx:pt>
          <cx:pt idx="6">115.8259999999999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5.64400000000001</cx:pt>
          <cx:pt idx="1">-7.5223054999999945</cx:pt>
          <cx:pt idx="2">11.5513548</cx:pt>
          <cx:pt idx="3">-4.9300000006041953e-05</cx:pt>
          <cx:pt idx="4">0.39600000000000002</cx:pt>
          <cx:pt idx="5">-0.81299999999999994</cx:pt>
          <cx:pt idx="6">159.25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cx:pt>
          <cx:pt idx="1">1</cx:pt>
          <cx:pt idx="2">-4</cx:pt>
          <cx:pt idx="3">1.1920928955078126e-12</cx:pt>
          <cx:pt idx="4">0</cx:pt>
          <cx:pt idx="5">0</cx:pt>
          <cx:pt idx="6">84</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4.19800000000001</cx:pt>
          <cx:pt idx="1">-6.4836788000000025</cx:pt>
          <cx:pt idx="2">-51.155329299999991</cx:pt>
          <cx:pt idx="3">8.0999999918276452e-06</cx:pt>
          <cx:pt idx="4">0.442</cx:pt>
          <cx:pt idx="5">-0.57899999999999996</cx:pt>
          <cx:pt idx="6">146.42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613</cx:pt>
          <cx:pt idx="1">0.013151600000001651</cx:pt>
          <cx:pt idx="2">-1.4161332999999998</cx:pt>
          <cx:pt idx="3">-0.0020183000000020004</cx:pt>
          <cx:pt idx="4">0.36699999999999999</cx:pt>
          <cx:pt idx="5">-0.95799999999999996</cx:pt>
          <cx:pt idx="6">55.616999999999997</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772000000000006</cx:pt>
          <cx:pt idx="1">-6.6557989000000006</cx:pt>
          <cx:pt idx="2">3.2767868999999985</cx:pt>
          <cx:pt idx="3">1.2000000001989974e-05</cx:pt>
          <cx:pt idx="4">0.441</cx:pt>
          <cx:pt idx="5">0</cx:pt>
          <cx:pt idx="6">92.83400000000000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380000000000003</cx:pt>
          <cx:pt idx="1">0.94005819999999929</cx:pt>
          <cx:pt idx="2">-8.1050322000000001</cx:pt>
          <cx:pt idx="3">0.030974000000000161</cx:pt>
          <cx:pt idx="4">-0.031</cx:pt>
          <cx:pt idx="5">-0.42499999999999999</cx:pt>
          <cx:pt idx="6">29.7899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8.18700000000001</cx:pt>
          <cx:pt idx="1">-1.2427045000000023</cx:pt>
          <cx:pt idx="2">-110.1112803</cx:pt>
          <cx:pt idx="3">-1.5199999994365498e-05</cx:pt>
          <cx:pt idx="4">0.83299999999999996</cx:pt>
          <cx:pt idx="5">-1.014</cx:pt>
          <cx:pt idx="6">116.65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06000000000002</cx:pt>
          <cx:pt idx="1">0.41948949999999985</cx:pt>
          <cx:pt idx="2">5.4164557000000002</cx:pt>
          <cx:pt idx="3">5.4799999999886495e-05</cx:pt>
          <cx:pt idx="4">0.036999999999999998</cx:pt>
          <cx:pt idx="5">-0.044999999999999998</cx:pt>
          <cx:pt idx="6">29.9340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2299999999996</cx:pt>
          <cx:pt idx="1">-146.59217299999975</cx:pt>
          <cx:pt idx="2">60.806908999999905</cx:pt>
          <cx:pt idx="3">-0.00073600000014994288</cx:pt>
          <cx:pt idx="4">2.1629999999999998</cx:pt>
          <cx:pt idx="5">-2.157</cx:pt>
          <cx:pt idx="6">4907.449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1769999999999</cx:pt>
          <cx:pt idx="1">20.238014499999899</cx:pt>
          <cx:pt idx="2">-86.212222999999994</cx:pt>
          <cx:pt idx="3">-0.0017914999999047723</cx:pt>
          <cx:pt idx="4">0</cx:pt>
          <cx:pt idx="5">0</cx:pt>
          <cx:pt idx="6">1463.2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471</cx:pt>
          <cx:pt idx="1">-76.857938400000023</cx:pt>
          <cx:pt idx="2">-6.0851618000000389</cx:pt>
          <cx:pt idx="3">0.00010020000007352792</cx:pt>
          <cx:pt idx="4">5.5170000000000003</cx:pt>
          <cx:pt idx="5">-1.2050000000000001</cx:pt>
          <cx:pt idx="6">2147.84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5.745</cx:pt>
          <cx:pt idx="1">11.589134900000079</cx:pt>
          <cx:pt idx="2">-37.855891</cx:pt>
          <cx:pt idx="3">0.028756099999925937</cx:pt>
          <cx:pt idx="4">0.012</cx:pt>
          <cx:pt idx="5">-0.029000000000000001</cx:pt>
          <cx:pt idx="6">849.490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7.8310000000001</cx:pt>
          <cx:pt idx="1">-129.21284589999991</cx:pt>
          <cx:pt idx="2">-62.941728100000027</cx:pt>
          <cx:pt idx="3">-0.00042600000006495976</cx:pt>
          <cx:pt idx="4">0.56000000000000005</cx:pt>
          <cx:pt idx="5">-3.0859999999999999</cx:pt>
          <cx:pt idx="6">3453.15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0.557</cx:pt>
          <cx:pt idx="1">19.567451000000016</cx:pt>
          <cx:pt idx="2">-102.47257800000001</cx:pt>
          <cx:pt idx="3">0.0021269999999931313</cx:pt>
          <cx:pt idx="4">0.045999999999999999</cx:pt>
          <cx:pt idx="5">-0.17899999999999999</cx:pt>
          <cx:pt idx="6">1317.52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2269999999999</cx:pt>
          <cx:pt idx="1">-101.53621969999995</cx:pt>
          <cx:pt idx="2">-349.56270879999994</cx:pt>
          <cx:pt idx="3">0.00092849999992176892</cx:pt>
          <cx:pt idx="4">1.659</cx:pt>
          <cx:pt idx="5">-1.2390000000000001</cx:pt>
          <cx:pt idx="6">2733.54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8.6320000000001</cx:pt>
          <cx:pt idx="1">14.358562099999961</cx:pt>
          <cx:pt idx="2">-79.592132599999999</cx:pt>
          <cx:pt idx="3">-0.0014294999999619905</cx:pt>
          <cx:pt idx="4">0</cx:pt>
          <cx:pt idx="5">-0.044999999999999998</cx:pt>
          <cx:pt idx="6">1023.352</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2.8789999999999</cx:pt>
          <cx:pt idx="1">-100.13523169999998</cx:pt>
          <cx:pt idx="2">-69.836975800000019</cx:pt>
          <cx:pt idx="3">0.00020749999998952262</cx:pt>
          <cx:pt idx="4">0</cx:pt>
          <cx:pt idx="5">-0.623</cx:pt>
          <cx:pt idx="6">2452.284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1.942</cx:pt>
          <cx:pt idx="1">13.733818099999963</cx:pt>
          <cx:pt idx="2">-73.03122519999998</cx:pt>
          <cx:pt idx="3">0.0004071000000258209</cx:pt>
          <cx:pt idx="4">0</cx:pt>
          <cx:pt idx="5">-0.42999999999999999</cx:pt>
          <cx:pt idx="6">1052.214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6.png"/><Relationship Id="rId5" Type="http://schemas.microsoft.com/office/2014/relationships/chartEx" Target="../charts/chartEx20.xml"/><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8.png"/><Relationship Id="rId5" Type="http://schemas.microsoft.com/office/2014/relationships/chartEx" Target="../charts/chartEx22.xml"/><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0.png"/><Relationship Id="rId5" Type="http://schemas.microsoft.com/office/2014/relationships/chartEx" Target="../charts/chartEx24.xml"/><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2.png"/><Relationship Id="rId5" Type="http://schemas.microsoft.com/office/2014/relationships/chartEx" Target="../charts/chartEx26.xml"/><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4.png"/><Relationship Id="rId5" Type="http://schemas.microsoft.com/office/2014/relationships/chartEx" Target="../charts/chartEx28.xml"/><Relationship Id="rId4" Type="http://schemas.openxmlformats.org/officeDocument/2006/relationships/image" Target="../media/image53.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30.xml"/><Relationship Id="rId4" Type="http://schemas.openxmlformats.org/officeDocument/2006/relationships/image" Target="../media/image280.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310.png"/><Relationship Id="rId5" Type="http://schemas.microsoft.com/office/2014/relationships/chartEx" Target="../charts/chartEx32.xml"/><Relationship Id="rId4" Type="http://schemas.openxmlformats.org/officeDocument/2006/relationships/image" Target="../media/image300.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330.png"/><Relationship Id="rId5" Type="http://schemas.microsoft.com/office/2014/relationships/chartEx" Target="../charts/chartEx34.xml"/><Relationship Id="rId4" Type="http://schemas.openxmlformats.org/officeDocument/2006/relationships/image" Target="../media/image320.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50.png"/><Relationship Id="rId5" Type="http://schemas.microsoft.com/office/2014/relationships/chartEx" Target="../charts/chartEx36.xml"/><Relationship Id="rId4" Type="http://schemas.openxmlformats.org/officeDocument/2006/relationships/image" Target="../media/image340.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370.png"/><Relationship Id="rId5" Type="http://schemas.microsoft.com/office/2014/relationships/chartEx" Target="../charts/chartEx38.xml"/><Relationship Id="rId4" Type="http://schemas.openxmlformats.org/officeDocument/2006/relationships/image" Target="../media/image360.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1.png"/><Relationship Id="rId5" Type="http://schemas.microsoft.com/office/2014/relationships/chartEx" Target="../charts/chartEx4.xml"/><Relationship Id="rId4" Type="http://schemas.openxmlformats.org/officeDocument/2006/relationships/image" Target="../media/image30.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391.png"/><Relationship Id="rId5" Type="http://schemas.microsoft.com/office/2014/relationships/chartEx" Target="../charts/chartEx40.xml"/><Relationship Id="rId4" Type="http://schemas.openxmlformats.org/officeDocument/2006/relationships/image" Target="../media/image380.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410.png"/><Relationship Id="rId5" Type="http://schemas.microsoft.com/office/2014/relationships/chartEx" Target="../charts/chartEx42.xml"/><Relationship Id="rId4" Type="http://schemas.openxmlformats.org/officeDocument/2006/relationships/image" Target="../media/image400.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430.png"/><Relationship Id="rId5" Type="http://schemas.microsoft.com/office/2014/relationships/chartEx" Target="../charts/chartEx44.xml"/><Relationship Id="rId4" Type="http://schemas.openxmlformats.org/officeDocument/2006/relationships/image" Target="../media/image420.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450.png"/><Relationship Id="rId5" Type="http://schemas.microsoft.com/office/2014/relationships/chartEx" Target="../charts/chartEx46.xml"/><Relationship Id="rId4" Type="http://schemas.openxmlformats.org/officeDocument/2006/relationships/image" Target="../media/image440.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470.png"/><Relationship Id="rId5" Type="http://schemas.microsoft.com/office/2014/relationships/chartEx" Target="../charts/chartEx48.xml"/><Relationship Id="rId4" Type="http://schemas.openxmlformats.org/officeDocument/2006/relationships/image" Target="../media/image460.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490.png"/><Relationship Id="rId5" Type="http://schemas.microsoft.com/office/2014/relationships/chartEx" Target="../charts/chartEx50.xml"/><Relationship Id="rId4" Type="http://schemas.openxmlformats.org/officeDocument/2006/relationships/image" Target="../media/image480.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10.png"/><Relationship Id="rId5" Type="http://schemas.microsoft.com/office/2014/relationships/chartEx" Target="../charts/chartEx52.xml"/><Relationship Id="rId4" Type="http://schemas.openxmlformats.org/officeDocument/2006/relationships/image" Target="../media/image500.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14/relationships/chartEx" Target="../charts/chartEx6.xm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5.png"/><Relationship Id="rId5" Type="http://schemas.microsoft.com/office/2014/relationships/chartEx" Target="../charts/chartEx8.xml"/><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7.png"/><Relationship Id="rId5" Type="http://schemas.microsoft.com/office/2014/relationships/chartEx" Target="../charts/chartEx10.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9.png"/><Relationship Id="rId5" Type="http://schemas.microsoft.com/office/2014/relationships/chartEx" Target="../charts/chartEx12.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0.png"/><Relationship Id="rId5" Type="http://schemas.microsoft.com/office/2014/relationships/chartEx" Target="../charts/chartEx14.xml"/><Relationship Id="rId4" Type="http://schemas.openxmlformats.org/officeDocument/2006/relationships/image" Target="../media/image390.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2.png"/><Relationship Id="rId5" Type="http://schemas.microsoft.com/office/2014/relationships/chartEx" Target="../charts/chartEx16.xml"/><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4.png"/><Relationship Id="rId5" Type="http://schemas.microsoft.com/office/2014/relationships/chartEx" Target="../charts/chartEx18.xml"/><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2021634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9947680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0406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412155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40300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408807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O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0513850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9523513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9512292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HA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0406685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07602028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860682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ND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2124968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81591911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10869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BR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7432430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7877570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194005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LO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8113025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827642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288603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237116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E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056074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61787942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836259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BO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6855973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30303739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023689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57805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37388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990201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8348580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296175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448939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377668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09798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58771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24919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Q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40823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324885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03</TotalTime>
  <Words>1430</Words>
  <Application>Microsoft Office PowerPoint</Application>
  <PresentationFormat>On-screen Show (16:9)</PresentationFormat>
  <Paragraphs>208</Paragraphs>
  <Slides>26</Slides>
  <Notes>2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6</cp:revision>
  <dcterms:created xsi:type="dcterms:W3CDTF">2024-07-05T07:54:38Z</dcterms:created>
  <dcterms:modified xsi:type="dcterms:W3CDTF">2025-09-01T09:5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